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86" r:id="rId2"/>
    <p:sldMasterId id="2147483674" r:id="rId3"/>
  </p:sldMasterIdLst>
  <p:notesMasterIdLst>
    <p:notesMasterId r:id="rId13"/>
  </p:notesMasterIdLst>
  <p:sldIdLst>
    <p:sldId id="389" r:id="rId4"/>
    <p:sldId id="420" r:id="rId5"/>
    <p:sldId id="430" r:id="rId6"/>
    <p:sldId id="398" r:id="rId7"/>
    <p:sldId id="431" r:id="rId8"/>
    <p:sldId id="397" r:id="rId9"/>
    <p:sldId id="426" r:id="rId10"/>
    <p:sldId id="432" r:id="rId11"/>
    <p:sldId id="409" r:id="rId12"/>
  </p:sldIdLst>
  <p:sldSz cx="9144000" cy="6858000" type="screen4x3"/>
  <p:notesSz cx="7023100" cy="9309100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56A6"/>
    <a:srgbClr val="00B2C0"/>
    <a:srgbClr val="3E39AB"/>
    <a:srgbClr val="FAAF3C"/>
    <a:srgbClr val="3F36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14"/>
    <p:restoredTop sz="91950" autoAdjust="0"/>
  </p:normalViewPr>
  <p:slideViewPr>
    <p:cSldViewPr snapToGrid="0" snapToObjects="1">
      <p:cViewPr varScale="1">
        <p:scale>
          <a:sx n="79" d="100"/>
          <a:sy n="79" d="100"/>
        </p:scale>
        <p:origin x="1584" y="66"/>
      </p:cViewPr>
      <p:guideLst>
        <p:guide orient="horz" pos="186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4" d="100"/>
          <a:sy n="64" d="100"/>
        </p:scale>
        <p:origin x="308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5D7EAF-4377-B442-9D7C-9337B471C364}" type="doc">
      <dgm:prSet loTypeId="urn:microsoft.com/office/officeart/2005/8/layout/target3" loCatId="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ED76D22C-2A11-DB48-9449-35646DB300C2}">
      <dgm:prSet phldrT="[Text]"/>
      <dgm:spPr/>
      <dgm:t>
        <a:bodyPr/>
        <a:lstStyle/>
        <a:p>
          <a:r>
            <a:rPr lang="en-US"/>
            <a:t>WASH in 71 Schools</a:t>
          </a:r>
        </a:p>
      </dgm:t>
    </dgm:pt>
    <dgm:pt modelId="{64F0F589-50C1-4740-BAF4-3FC408A46CCD}" type="parTrans" cxnId="{354E2BA6-6CEE-8748-A482-6F49C85ACE36}">
      <dgm:prSet/>
      <dgm:spPr/>
      <dgm:t>
        <a:bodyPr/>
        <a:lstStyle/>
        <a:p>
          <a:endParaRPr lang="en-US"/>
        </a:p>
      </dgm:t>
    </dgm:pt>
    <dgm:pt modelId="{CA80F945-1057-124B-894D-AB0F7AADE7CE}" type="sibTrans" cxnId="{354E2BA6-6CEE-8748-A482-6F49C85ACE36}">
      <dgm:prSet/>
      <dgm:spPr/>
      <dgm:t>
        <a:bodyPr/>
        <a:lstStyle/>
        <a:p>
          <a:endParaRPr lang="en-US"/>
        </a:p>
      </dgm:t>
    </dgm:pt>
    <dgm:pt modelId="{5CDD3236-9870-D141-9A53-7A869CDF8AF7}">
      <dgm:prSet phldrT="[Text]"/>
      <dgm:spPr/>
      <dgm:t>
        <a:bodyPr/>
        <a:lstStyle/>
        <a:p>
          <a:r>
            <a:rPr lang="en-US"/>
            <a:t>Group Handwashing Stations</a:t>
          </a:r>
        </a:p>
      </dgm:t>
    </dgm:pt>
    <dgm:pt modelId="{23887D61-DFB4-C84B-AC22-EFC5767FCE4F}" type="parTrans" cxnId="{D4AC69C8-2AF8-DE41-B856-EB3FB9810CDD}">
      <dgm:prSet/>
      <dgm:spPr/>
      <dgm:t>
        <a:bodyPr/>
        <a:lstStyle/>
        <a:p>
          <a:endParaRPr lang="en-US"/>
        </a:p>
      </dgm:t>
    </dgm:pt>
    <dgm:pt modelId="{A58B1E88-0607-C44C-83A4-CBC3C71872AC}" type="sibTrans" cxnId="{D4AC69C8-2AF8-DE41-B856-EB3FB9810CDD}">
      <dgm:prSet/>
      <dgm:spPr/>
      <dgm:t>
        <a:bodyPr/>
        <a:lstStyle/>
        <a:p>
          <a:endParaRPr lang="en-US"/>
        </a:p>
      </dgm:t>
    </dgm:pt>
    <dgm:pt modelId="{5C0480CD-093A-314D-8F5B-AF952EA3156C}">
      <dgm:prSet phldrT="[Text]"/>
      <dgm:spPr/>
      <dgm:t>
        <a:bodyPr/>
        <a:lstStyle/>
        <a:p>
          <a:r>
            <a:rPr lang="en-US" dirty="0"/>
            <a:t>Separate toilets for boys and girls</a:t>
          </a:r>
        </a:p>
      </dgm:t>
    </dgm:pt>
    <dgm:pt modelId="{C0204501-B975-1E45-A026-F4DAADAB3B79}" type="parTrans" cxnId="{F374C49A-433E-EA4A-9A33-BFE26366E74C}">
      <dgm:prSet/>
      <dgm:spPr/>
      <dgm:t>
        <a:bodyPr/>
        <a:lstStyle/>
        <a:p>
          <a:endParaRPr lang="en-US"/>
        </a:p>
      </dgm:t>
    </dgm:pt>
    <dgm:pt modelId="{67AD84A6-9119-F84F-8EDC-0F90638D84B6}" type="sibTrans" cxnId="{F374C49A-433E-EA4A-9A33-BFE26366E74C}">
      <dgm:prSet/>
      <dgm:spPr/>
      <dgm:t>
        <a:bodyPr/>
        <a:lstStyle/>
        <a:p>
          <a:endParaRPr lang="en-US"/>
        </a:p>
      </dgm:t>
    </dgm:pt>
    <dgm:pt modelId="{2F1C3B8F-A4EB-9A43-B056-20641A25B255}">
      <dgm:prSet phldrT="[Text]"/>
      <dgm:spPr/>
      <dgm:t>
        <a:bodyPr/>
        <a:lstStyle/>
        <a:p>
          <a:r>
            <a:rPr lang="en-US"/>
            <a:t>WASH in 12 HCFs</a:t>
          </a:r>
        </a:p>
      </dgm:t>
    </dgm:pt>
    <dgm:pt modelId="{F6B42D56-0495-EF45-BB43-60221D3672C6}" type="parTrans" cxnId="{C0E4BF51-F0BA-2B4B-95DC-B927F6198ABA}">
      <dgm:prSet/>
      <dgm:spPr/>
      <dgm:t>
        <a:bodyPr/>
        <a:lstStyle/>
        <a:p>
          <a:endParaRPr lang="en-US"/>
        </a:p>
      </dgm:t>
    </dgm:pt>
    <dgm:pt modelId="{1CD7FF67-B4F5-AF42-8AB7-6D2FCA9468B7}" type="sibTrans" cxnId="{C0E4BF51-F0BA-2B4B-95DC-B927F6198ABA}">
      <dgm:prSet/>
      <dgm:spPr/>
      <dgm:t>
        <a:bodyPr/>
        <a:lstStyle/>
        <a:p>
          <a:endParaRPr lang="en-US"/>
        </a:p>
      </dgm:t>
    </dgm:pt>
    <dgm:pt modelId="{84A58E7B-DD01-7F47-BD8F-21F0F33F14E4}">
      <dgm:prSet phldrT="[Text]"/>
      <dgm:spPr/>
      <dgm:t>
        <a:bodyPr/>
        <a:lstStyle/>
        <a:p>
          <a:r>
            <a:rPr lang="en-US"/>
            <a:t>Piped Water Systems</a:t>
          </a:r>
        </a:p>
      </dgm:t>
    </dgm:pt>
    <dgm:pt modelId="{944AAA74-64A0-0F47-8A26-E7AA68980FA8}" type="parTrans" cxnId="{A290D323-F782-A643-B6CF-7F0DDD174C85}">
      <dgm:prSet/>
      <dgm:spPr/>
      <dgm:t>
        <a:bodyPr/>
        <a:lstStyle/>
        <a:p>
          <a:endParaRPr lang="en-US"/>
        </a:p>
      </dgm:t>
    </dgm:pt>
    <dgm:pt modelId="{E909B042-64CA-9B4E-B73C-95BF00F5C1D0}" type="sibTrans" cxnId="{A290D323-F782-A643-B6CF-7F0DDD174C85}">
      <dgm:prSet/>
      <dgm:spPr/>
      <dgm:t>
        <a:bodyPr/>
        <a:lstStyle/>
        <a:p>
          <a:endParaRPr lang="en-US"/>
        </a:p>
      </dgm:t>
    </dgm:pt>
    <dgm:pt modelId="{9DDB846C-98CC-7D45-966D-48A337B53969}">
      <dgm:prSet phldrT="[Text]" phldr="1"/>
      <dgm:spPr/>
      <dgm:t>
        <a:bodyPr/>
        <a:lstStyle/>
        <a:p>
          <a:endParaRPr lang="en-US"/>
        </a:p>
      </dgm:t>
    </dgm:pt>
    <dgm:pt modelId="{316E8DCF-3DF8-784A-BAB5-245BFE9DA348}" type="parTrans" cxnId="{25F774C5-44B9-E243-8549-32C531367ADE}">
      <dgm:prSet/>
      <dgm:spPr/>
      <dgm:t>
        <a:bodyPr/>
        <a:lstStyle/>
        <a:p>
          <a:endParaRPr lang="en-US"/>
        </a:p>
      </dgm:t>
    </dgm:pt>
    <dgm:pt modelId="{60283FB7-835B-0349-9AF0-764A5186DD27}" type="sibTrans" cxnId="{25F774C5-44B9-E243-8549-32C531367ADE}">
      <dgm:prSet/>
      <dgm:spPr/>
      <dgm:t>
        <a:bodyPr/>
        <a:lstStyle/>
        <a:p>
          <a:endParaRPr lang="en-US"/>
        </a:p>
      </dgm:t>
    </dgm:pt>
    <dgm:pt modelId="{F496C982-F7D7-9A42-BF4A-1F7DE68F7980}">
      <dgm:prSet phldrT="[Text]"/>
      <dgm:spPr/>
      <dgm:t>
        <a:bodyPr/>
        <a:lstStyle/>
        <a:p>
          <a:r>
            <a:rPr lang="en-US"/>
            <a:t>WASH in 7 Communities</a:t>
          </a:r>
        </a:p>
      </dgm:t>
    </dgm:pt>
    <dgm:pt modelId="{C77DB525-192E-2749-B64B-F01316B15BE7}" type="parTrans" cxnId="{397BC451-3A4A-7B47-A52D-05F5315C38BD}">
      <dgm:prSet/>
      <dgm:spPr/>
      <dgm:t>
        <a:bodyPr/>
        <a:lstStyle/>
        <a:p>
          <a:endParaRPr lang="en-US"/>
        </a:p>
      </dgm:t>
    </dgm:pt>
    <dgm:pt modelId="{32CF653B-CAC8-3F4D-B0C4-FE578ED327B0}" type="sibTrans" cxnId="{397BC451-3A4A-7B47-A52D-05F5315C38BD}">
      <dgm:prSet/>
      <dgm:spPr/>
      <dgm:t>
        <a:bodyPr/>
        <a:lstStyle/>
        <a:p>
          <a:endParaRPr lang="en-US"/>
        </a:p>
      </dgm:t>
    </dgm:pt>
    <dgm:pt modelId="{FC715909-1E08-3247-A3F8-D44782992721}">
      <dgm:prSet phldrT="[Text]"/>
      <dgm:spPr/>
      <dgm:t>
        <a:bodyPr/>
        <a:lstStyle/>
        <a:p>
          <a:r>
            <a:rPr lang="en-US"/>
            <a:t>Water systems </a:t>
          </a:r>
        </a:p>
      </dgm:t>
    </dgm:pt>
    <dgm:pt modelId="{678767D3-B7CE-A14E-9481-3FFA5A5F1139}" type="parTrans" cxnId="{388163DC-7A56-334C-A273-6709116DE36C}">
      <dgm:prSet/>
      <dgm:spPr/>
      <dgm:t>
        <a:bodyPr/>
        <a:lstStyle/>
        <a:p>
          <a:endParaRPr lang="en-US"/>
        </a:p>
      </dgm:t>
    </dgm:pt>
    <dgm:pt modelId="{21A24246-984F-8140-A04F-7965AC9ACA87}" type="sibTrans" cxnId="{388163DC-7A56-334C-A273-6709116DE36C}">
      <dgm:prSet/>
      <dgm:spPr/>
      <dgm:t>
        <a:bodyPr/>
        <a:lstStyle/>
        <a:p>
          <a:endParaRPr lang="en-US"/>
        </a:p>
      </dgm:t>
    </dgm:pt>
    <dgm:pt modelId="{ECA558B0-F126-1A4E-AEF9-55F81C457177}">
      <dgm:prSet phldrT="[Text]" phldr="1"/>
      <dgm:spPr/>
      <dgm:t>
        <a:bodyPr/>
        <a:lstStyle/>
        <a:p>
          <a:endParaRPr lang="en-US"/>
        </a:p>
      </dgm:t>
    </dgm:pt>
    <dgm:pt modelId="{175E0EDE-88CB-F64E-8F44-B8FF557D9FD1}" type="parTrans" cxnId="{A999860C-43E2-CF41-AF8F-17A8079581EC}">
      <dgm:prSet/>
      <dgm:spPr/>
      <dgm:t>
        <a:bodyPr/>
        <a:lstStyle/>
        <a:p>
          <a:endParaRPr lang="en-US"/>
        </a:p>
      </dgm:t>
    </dgm:pt>
    <dgm:pt modelId="{8D9011F1-CFA3-984F-A548-D26F73AB795A}" type="sibTrans" cxnId="{A999860C-43E2-CF41-AF8F-17A8079581EC}">
      <dgm:prSet/>
      <dgm:spPr/>
      <dgm:t>
        <a:bodyPr/>
        <a:lstStyle/>
        <a:p>
          <a:endParaRPr lang="en-US"/>
        </a:p>
      </dgm:t>
    </dgm:pt>
    <dgm:pt modelId="{97846684-2F7F-AB4D-899E-EB2817C1F36F}">
      <dgm:prSet phldrT="[Text]"/>
      <dgm:spPr/>
      <dgm:t>
        <a:bodyPr/>
        <a:lstStyle/>
        <a:p>
          <a:r>
            <a:rPr lang="en-US"/>
            <a:t>Incinerators &amp; MHM advocacy</a:t>
          </a:r>
        </a:p>
      </dgm:t>
    </dgm:pt>
    <dgm:pt modelId="{F869D83E-B871-264F-9AB4-99BE304869FE}" type="parTrans" cxnId="{D397027F-1D5F-BE4D-9431-7C645F2109CA}">
      <dgm:prSet/>
      <dgm:spPr/>
      <dgm:t>
        <a:bodyPr/>
        <a:lstStyle/>
        <a:p>
          <a:endParaRPr lang="en-US"/>
        </a:p>
      </dgm:t>
    </dgm:pt>
    <dgm:pt modelId="{F9BCD069-9752-5C47-A883-73475328DA2A}" type="sibTrans" cxnId="{D397027F-1D5F-BE4D-9431-7C645F2109CA}">
      <dgm:prSet/>
      <dgm:spPr/>
      <dgm:t>
        <a:bodyPr/>
        <a:lstStyle/>
        <a:p>
          <a:endParaRPr lang="en-US"/>
        </a:p>
      </dgm:t>
    </dgm:pt>
    <dgm:pt modelId="{30EB0560-E15B-DA46-89F3-F9417F87358B}">
      <dgm:prSet phldrT="[Text]"/>
      <dgm:spPr/>
      <dgm:t>
        <a:bodyPr/>
        <a:lstStyle/>
        <a:p>
          <a:r>
            <a:rPr lang="en-US"/>
            <a:t>Hand Hygiene</a:t>
          </a:r>
        </a:p>
      </dgm:t>
    </dgm:pt>
    <dgm:pt modelId="{75B96EBC-E089-BB44-99FF-6D0E42537870}" type="parTrans" cxnId="{6E7A11EF-461A-FE40-9ABA-7FAFE8EEF1A1}">
      <dgm:prSet/>
      <dgm:spPr/>
      <dgm:t>
        <a:bodyPr/>
        <a:lstStyle/>
        <a:p>
          <a:endParaRPr lang="en-US"/>
        </a:p>
      </dgm:t>
    </dgm:pt>
    <dgm:pt modelId="{AA6480F8-DED2-8544-A4FF-033F44EB101B}" type="sibTrans" cxnId="{6E7A11EF-461A-FE40-9ABA-7FAFE8EEF1A1}">
      <dgm:prSet/>
      <dgm:spPr/>
      <dgm:t>
        <a:bodyPr/>
        <a:lstStyle/>
        <a:p>
          <a:endParaRPr lang="en-US"/>
        </a:p>
      </dgm:t>
    </dgm:pt>
    <dgm:pt modelId="{04C9D5EB-615C-C840-B153-CC2385126CE8}">
      <dgm:prSet phldrT="[Text]"/>
      <dgm:spPr/>
      <dgm:t>
        <a:bodyPr/>
        <a:lstStyle/>
        <a:p>
          <a:r>
            <a:rPr lang="en-US"/>
            <a:t>Sanitation</a:t>
          </a:r>
        </a:p>
      </dgm:t>
    </dgm:pt>
    <dgm:pt modelId="{C6040FDA-0566-6C4F-A401-0DCC3B64C32D}" type="parTrans" cxnId="{0E3F436C-B142-3649-9770-573E2C33E39B}">
      <dgm:prSet/>
      <dgm:spPr/>
      <dgm:t>
        <a:bodyPr/>
        <a:lstStyle/>
        <a:p>
          <a:endParaRPr lang="en-US"/>
        </a:p>
      </dgm:t>
    </dgm:pt>
    <dgm:pt modelId="{B28C6D8B-219B-694D-81B0-25FB3AACD3F3}" type="sibTrans" cxnId="{0E3F436C-B142-3649-9770-573E2C33E39B}">
      <dgm:prSet/>
      <dgm:spPr/>
      <dgm:t>
        <a:bodyPr/>
        <a:lstStyle/>
        <a:p>
          <a:endParaRPr lang="en-US"/>
        </a:p>
      </dgm:t>
    </dgm:pt>
    <dgm:pt modelId="{73A316BF-4D80-7645-9447-9F2A721485E6}">
      <dgm:prSet phldrT="[Text]"/>
      <dgm:spPr/>
      <dgm:t>
        <a:bodyPr/>
        <a:lstStyle/>
        <a:p>
          <a:r>
            <a:rPr lang="en-US"/>
            <a:t>Waste Management</a:t>
          </a:r>
        </a:p>
      </dgm:t>
    </dgm:pt>
    <dgm:pt modelId="{67EF0659-64B9-9047-A0F4-BB2F48F38665}" type="parTrans" cxnId="{F3B1790C-3EBA-AC43-8498-5814A544413A}">
      <dgm:prSet/>
      <dgm:spPr/>
      <dgm:t>
        <a:bodyPr/>
        <a:lstStyle/>
        <a:p>
          <a:endParaRPr lang="en-US"/>
        </a:p>
      </dgm:t>
    </dgm:pt>
    <dgm:pt modelId="{F00B0ADE-73B9-E948-B0C9-BE99ED4BAD2A}" type="sibTrans" cxnId="{F3B1790C-3EBA-AC43-8498-5814A544413A}">
      <dgm:prSet/>
      <dgm:spPr/>
      <dgm:t>
        <a:bodyPr/>
        <a:lstStyle/>
        <a:p>
          <a:endParaRPr lang="en-US"/>
        </a:p>
      </dgm:t>
    </dgm:pt>
    <dgm:pt modelId="{044F0A28-755D-1140-BF0E-62B557D88327}">
      <dgm:prSet phldrT="[Text]"/>
      <dgm:spPr/>
      <dgm:t>
        <a:bodyPr/>
        <a:lstStyle/>
        <a:p>
          <a:r>
            <a:rPr lang="en-US"/>
            <a:t>Sanitation </a:t>
          </a:r>
        </a:p>
      </dgm:t>
    </dgm:pt>
    <dgm:pt modelId="{B1108AC0-01DE-3849-AE12-A6A8FA020824}" type="parTrans" cxnId="{B5A0D573-FD51-2043-AB2D-1B6C8D2F2AA8}">
      <dgm:prSet/>
      <dgm:spPr/>
      <dgm:t>
        <a:bodyPr/>
        <a:lstStyle/>
        <a:p>
          <a:endParaRPr lang="en-US"/>
        </a:p>
      </dgm:t>
    </dgm:pt>
    <dgm:pt modelId="{18358F85-467E-3B48-BC65-ECF713F7E2B6}" type="sibTrans" cxnId="{B5A0D573-FD51-2043-AB2D-1B6C8D2F2AA8}">
      <dgm:prSet/>
      <dgm:spPr/>
      <dgm:t>
        <a:bodyPr/>
        <a:lstStyle/>
        <a:p>
          <a:endParaRPr lang="en-US"/>
        </a:p>
      </dgm:t>
    </dgm:pt>
    <dgm:pt modelId="{E49C52A8-C713-1945-98D7-AFAF1C0A4ACC}" type="pres">
      <dgm:prSet presAssocID="{755D7EAF-4377-B442-9D7C-9337B471C364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BEBB0FBB-3C4A-834E-8689-F17497B49619}" type="pres">
      <dgm:prSet presAssocID="{ED76D22C-2A11-DB48-9449-35646DB300C2}" presName="circle1" presStyleLbl="node1" presStyleIdx="0" presStyleCnt="3"/>
      <dgm:spPr/>
    </dgm:pt>
    <dgm:pt modelId="{58136330-E90F-404B-848A-E708A2824495}" type="pres">
      <dgm:prSet presAssocID="{ED76D22C-2A11-DB48-9449-35646DB300C2}" presName="space" presStyleCnt="0"/>
      <dgm:spPr/>
    </dgm:pt>
    <dgm:pt modelId="{76BA9DCC-DEEE-D74F-87DD-A90111B987EF}" type="pres">
      <dgm:prSet presAssocID="{ED76D22C-2A11-DB48-9449-35646DB300C2}" presName="rect1" presStyleLbl="alignAcc1" presStyleIdx="0" presStyleCnt="3" custLinFactNeighborX="379" custLinFactNeighborY="-922"/>
      <dgm:spPr/>
    </dgm:pt>
    <dgm:pt modelId="{22CF3462-FBE9-2B4D-9E3C-15D14E87586D}" type="pres">
      <dgm:prSet presAssocID="{2F1C3B8F-A4EB-9A43-B056-20641A25B255}" presName="vertSpace2" presStyleLbl="node1" presStyleIdx="0" presStyleCnt="3"/>
      <dgm:spPr/>
    </dgm:pt>
    <dgm:pt modelId="{171B3D0C-BD79-7444-988C-5A3426F8C2C6}" type="pres">
      <dgm:prSet presAssocID="{2F1C3B8F-A4EB-9A43-B056-20641A25B255}" presName="circle2" presStyleLbl="node1" presStyleIdx="1" presStyleCnt="3"/>
      <dgm:spPr/>
    </dgm:pt>
    <dgm:pt modelId="{72C33C80-B325-8E4F-B5D6-9B01746BFE9E}" type="pres">
      <dgm:prSet presAssocID="{2F1C3B8F-A4EB-9A43-B056-20641A25B255}" presName="rect2" presStyleLbl="alignAcc1" presStyleIdx="1" presStyleCnt="3"/>
      <dgm:spPr/>
    </dgm:pt>
    <dgm:pt modelId="{28CE7775-6C52-244C-84CD-0F54B4CFE4CB}" type="pres">
      <dgm:prSet presAssocID="{F496C982-F7D7-9A42-BF4A-1F7DE68F7980}" presName="vertSpace3" presStyleLbl="node1" presStyleIdx="1" presStyleCnt="3"/>
      <dgm:spPr/>
    </dgm:pt>
    <dgm:pt modelId="{088C4C48-81C5-5942-9DA2-C04AD782ED48}" type="pres">
      <dgm:prSet presAssocID="{F496C982-F7D7-9A42-BF4A-1F7DE68F7980}" presName="circle3" presStyleLbl="node1" presStyleIdx="2" presStyleCnt="3"/>
      <dgm:spPr/>
    </dgm:pt>
    <dgm:pt modelId="{C1742707-8515-E64F-A362-F115485E2B7F}" type="pres">
      <dgm:prSet presAssocID="{F496C982-F7D7-9A42-BF4A-1F7DE68F7980}" presName="rect3" presStyleLbl="alignAcc1" presStyleIdx="2" presStyleCnt="3"/>
      <dgm:spPr/>
    </dgm:pt>
    <dgm:pt modelId="{C5784570-F8D7-CF49-A7AE-EEC023DCC7C4}" type="pres">
      <dgm:prSet presAssocID="{ED76D22C-2A11-DB48-9449-35646DB300C2}" presName="rect1ParTx" presStyleLbl="alignAcc1" presStyleIdx="2" presStyleCnt="3">
        <dgm:presLayoutVars>
          <dgm:chMax val="1"/>
          <dgm:bulletEnabled val="1"/>
        </dgm:presLayoutVars>
      </dgm:prSet>
      <dgm:spPr/>
    </dgm:pt>
    <dgm:pt modelId="{9708546A-702E-934A-BC58-9A2C2419800D}" type="pres">
      <dgm:prSet presAssocID="{ED76D22C-2A11-DB48-9449-35646DB300C2}" presName="rect1ChTx" presStyleLbl="alignAcc1" presStyleIdx="2" presStyleCnt="3">
        <dgm:presLayoutVars>
          <dgm:bulletEnabled val="1"/>
        </dgm:presLayoutVars>
      </dgm:prSet>
      <dgm:spPr/>
    </dgm:pt>
    <dgm:pt modelId="{B329F6A5-B1BC-F54F-815A-DCD3520280A1}" type="pres">
      <dgm:prSet presAssocID="{2F1C3B8F-A4EB-9A43-B056-20641A25B255}" presName="rect2ParTx" presStyleLbl="alignAcc1" presStyleIdx="2" presStyleCnt="3">
        <dgm:presLayoutVars>
          <dgm:chMax val="1"/>
          <dgm:bulletEnabled val="1"/>
        </dgm:presLayoutVars>
      </dgm:prSet>
      <dgm:spPr/>
    </dgm:pt>
    <dgm:pt modelId="{CA81B53C-1C6D-3040-BBD9-ADC3591A8715}" type="pres">
      <dgm:prSet presAssocID="{2F1C3B8F-A4EB-9A43-B056-20641A25B255}" presName="rect2ChTx" presStyleLbl="alignAcc1" presStyleIdx="2" presStyleCnt="3">
        <dgm:presLayoutVars>
          <dgm:bulletEnabled val="1"/>
        </dgm:presLayoutVars>
      </dgm:prSet>
      <dgm:spPr/>
    </dgm:pt>
    <dgm:pt modelId="{0A030712-0DCB-DC42-95F0-CA366EA7356E}" type="pres">
      <dgm:prSet presAssocID="{F496C982-F7D7-9A42-BF4A-1F7DE68F7980}" presName="rect3ParTx" presStyleLbl="alignAcc1" presStyleIdx="2" presStyleCnt="3">
        <dgm:presLayoutVars>
          <dgm:chMax val="1"/>
          <dgm:bulletEnabled val="1"/>
        </dgm:presLayoutVars>
      </dgm:prSet>
      <dgm:spPr/>
    </dgm:pt>
    <dgm:pt modelId="{13431151-A1DD-F941-AA5D-7C2C720C6111}" type="pres">
      <dgm:prSet presAssocID="{F496C982-F7D7-9A42-BF4A-1F7DE68F7980}" presName="rect3ChTx" presStyleLbl="alignAcc1" presStyleIdx="2" presStyleCnt="3">
        <dgm:presLayoutVars>
          <dgm:bulletEnabled val="1"/>
        </dgm:presLayoutVars>
      </dgm:prSet>
      <dgm:spPr/>
    </dgm:pt>
  </dgm:ptLst>
  <dgm:cxnLst>
    <dgm:cxn modelId="{F3B1790C-3EBA-AC43-8498-5814A544413A}" srcId="{2F1C3B8F-A4EB-9A43-B056-20641A25B255}" destId="{73A316BF-4D80-7645-9447-9F2A721485E6}" srcOrd="3" destOrd="0" parTransId="{67EF0659-64B9-9047-A0F4-BB2F48F38665}" sibTransId="{F00B0ADE-73B9-E948-B0C9-BE99ED4BAD2A}"/>
    <dgm:cxn modelId="{A999860C-43E2-CF41-AF8F-17A8079581EC}" srcId="{F496C982-F7D7-9A42-BF4A-1F7DE68F7980}" destId="{ECA558B0-F126-1A4E-AEF9-55F81C457177}" srcOrd="2" destOrd="0" parTransId="{175E0EDE-88CB-F64E-8F44-B8FF557D9FD1}" sibTransId="{8D9011F1-CFA3-984F-A548-D26F73AB795A}"/>
    <dgm:cxn modelId="{A290D323-F782-A643-B6CF-7F0DDD174C85}" srcId="{2F1C3B8F-A4EB-9A43-B056-20641A25B255}" destId="{84A58E7B-DD01-7F47-BD8F-21F0F33F14E4}" srcOrd="0" destOrd="0" parTransId="{944AAA74-64A0-0F47-8A26-E7AA68980FA8}" sibTransId="{E909B042-64CA-9B4E-B73C-95BF00F5C1D0}"/>
    <dgm:cxn modelId="{1B76A63B-4753-924D-AD2F-0776169F2D5A}" type="presOf" srcId="{044F0A28-755D-1140-BF0E-62B557D88327}" destId="{13431151-A1DD-F941-AA5D-7C2C720C6111}" srcOrd="0" destOrd="1" presId="urn:microsoft.com/office/officeart/2005/8/layout/target3"/>
    <dgm:cxn modelId="{B7B24543-DC2F-0F4D-897D-884C4902EBB4}" type="presOf" srcId="{2F1C3B8F-A4EB-9A43-B056-20641A25B255}" destId="{72C33C80-B325-8E4F-B5D6-9B01746BFE9E}" srcOrd="0" destOrd="0" presId="urn:microsoft.com/office/officeart/2005/8/layout/target3"/>
    <dgm:cxn modelId="{CBB0CB66-02D8-9E4D-A9F3-65B7719AFD9B}" type="presOf" srcId="{ED76D22C-2A11-DB48-9449-35646DB300C2}" destId="{76BA9DCC-DEEE-D74F-87DD-A90111B987EF}" srcOrd="0" destOrd="0" presId="urn:microsoft.com/office/officeart/2005/8/layout/target3"/>
    <dgm:cxn modelId="{31931D47-C78F-FA4B-A626-6EE213B4FC69}" type="presOf" srcId="{5CDD3236-9870-D141-9A53-7A869CDF8AF7}" destId="{9708546A-702E-934A-BC58-9A2C2419800D}" srcOrd="0" destOrd="0" presId="urn:microsoft.com/office/officeart/2005/8/layout/target3"/>
    <dgm:cxn modelId="{C7B2A867-4368-BB4B-9AC5-6B8B6D5933F6}" type="presOf" srcId="{9DDB846C-98CC-7D45-966D-48A337B53969}" destId="{CA81B53C-1C6D-3040-BBD9-ADC3591A8715}" srcOrd="0" destOrd="4" presId="urn:microsoft.com/office/officeart/2005/8/layout/target3"/>
    <dgm:cxn modelId="{0E3F436C-B142-3649-9770-573E2C33E39B}" srcId="{2F1C3B8F-A4EB-9A43-B056-20641A25B255}" destId="{04C9D5EB-615C-C840-B153-CC2385126CE8}" srcOrd="2" destOrd="0" parTransId="{C6040FDA-0566-6C4F-A401-0DCC3B64C32D}" sibTransId="{B28C6D8B-219B-694D-81B0-25FB3AACD3F3}"/>
    <dgm:cxn modelId="{3AC13A6D-B520-024D-BAEA-EE40ECE11494}" type="presOf" srcId="{5C0480CD-093A-314D-8F5B-AF952EA3156C}" destId="{9708546A-702E-934A-BC58-9A2C2419800D}" srcOrd="0" destOrd="1" presId="urn:microsoft.com/office/officeart/2005/8/layout/target3"/>
    <dgm:cxn modelId="{5FD03270-19E9-E64B-B89D-565DDCC004C4}" type="presOf" srcId="{97846684-2F7F-AB4D-899E-EB2817C1F36F}" destId="{9708546A-702E-934A-BC58-9A2C2419800D}" srcOrd="0" destOrd="2" presId="urn:microsoft.com/office/officeart/2005/8/layout/target3"/>
    <dgm:cxn modelId="{C0E4BF51-F0BA-2B4B-95DC-B927F6198ABA}" srcId="{755D7EAF-4377-B442-9D7C-9337B471C364}" destId="{2F1C3B8F-A4EB-9A43-B056-20641A25B255}" srcOrd="1" destOrd="0" parTransId="{F6B42D56-0495-EF45-BB43-60221D3672C6}" sibTransId="{1CD7FF67-B4F5-AF42-8AB7-6D2FCA9468B7}"/>
    <dgm:cxn modelId="{397BC451-3A4A-7B47-A52D-05F5315C38BD}" srcId="{755D7EAF-4377-B442-9D7C-9337B471C364}" destId="{F496C982-F7D7-9A42-BF4A-1F7DE68F7980}" srcOrd="2" destOrd="0" parTransId="{C77DB525-192E-2749-B64B-F01316B15BE7}" sibTransId="{32CF653B-CAC8-3F4D-B0C4-FE578ED327B0}"/>
    <dgm:cxn modelId="{3ED9C651-DA37-F447-9CB2-CB95FD172644}" type="presOf" srcId="{ED76D22C-2A11-DB48-9449-35646DB300C2}" destId="{C5784570-F8D7-CF49-A7AE-EEC023DCC7C4}" srcOrd="1" destOrd="0" presId="urn:microsoft.com/office/officeart/2005/8/layout/target3"/>
    <dgm:cxn modelId="{B5A0D573-FD51-2043-AB2D-1B6C8D2F2AA8}" srcId="{F496C982-F7D7-9A42-BF4A-1F7DE68F7980}" destId="{044F0A28-755D-1140-BF0E-62B557D88327}" srcOrd="1" destOrd="0" parTransId="{B1108AC0-01DE-3849-AE12-A6A8FA020824}" sibTransId="{18358F85-467E-3B48-BC65-ECF713F7E2B6}"/>
    <dgm:cxn modelId="{D570955A-F069-004D-9218-92906815331F}" type="presOf" srcId="{ECA558B0-F126-1A4E-AEF9-55F81C457177}" destId="{13431151-A1DD-F941-AA5D-7C2C720C6111}" srcOrd="0" destOrd="2" presId="urn:microsoft.com/office/officeart/2005/8/layout/target3"/>
    <dgm:cxn modelId="{D397027F-1D5F-BE4D-9431-7C645F2109CA}" srcId="{ED76D22C-2A11-DB48-9449-35646DB300C2}" destId="{97846684-2F7F-AB4D-899E-EB2817C1F36F}" srcOrd="2" destOrd="0" parTransId="{F869D83E-B871-264F-9AB4-99BE304869FE}" sibTransId="{F9BCD069-9752-5C47-A883-73475328DA2A}"/>
    <dgm:cxn modelId="{8D6AED8E-892B-2946-AA40-65B68FC83549}" type="presOf" srcId="{755D7EAF-4377-B442-9D7C-9337B471C364}" destId="{E49C52A8-C713-1945-98D7-AFAF1C0A4ACC}" srcOrd="0" destOrd="0" presId="urn:microsoft.com/office/officeart/2005/8/layout/target3"/>
    <dgm:cxn modelId="{F374C49A-433E-EA4A-9A33-BFE26366E74C}" srcId="{ED76D22C-2A11-DB48-9449-35646DB300C2}" destId="{5C0480CD-093A-314D-8F5B-AF952EA3156C}" srcOrd="1" destOrd="0" parTransId="{C0204501-B975-1E45-A026-F4DAADAB3B79}" sibTransId="{67AD84A6-9119-F84F-8EDC-0F90638D84B6}"/>
    <dgm:cxn modelId="{C96E8DA5-9446-4348-AB58-F78377149E25}" type="presOf" srcId="{FC715909-1E08-3247-A3F8-D44782992721}" destId="{13431151-A1DD-F941-AA5D-7C2C720C6111}" srcOrd="0" destOrd="0" presId="urn:microsoft.com/office/officeart/2005/8/layout/target3"/>
    <dgm:cxn modelId="{3B57DBA5-DA8A-2A43-A493-A20B42A034C5}" type="presOf" srcId="{F496C982-F7D7-9A42-BF4A-1F7DE68F7980}" destId="{0A030712-0DCB-DC42-95F0-CA366EA7356E}" srcOrd="1" destOrd="0" presId="urn:microsoft.com/office/officeart/2005/8/layout/target3"/>
    <dgm:cxn modelId="{354E2BA6-6CEE-8748-A482-6F49C85ACE36}" srcId="{755D7EAF-4377-B442-9D7C-9337B471C364}" destId="{ED76D22C-2A11-DB48-9449-35646DB300C2}" srcOrd="0" destOrd="0" parTransId="{64F0F589-50C1-4740-BAF4-3FC408A46CCD}" sibTransId="{CA80F945-1057-124B-894D-AB0F7AADE7CE}"/>
    <dgm:cxn modelId="{38497AAC-C8CC-9344-8943-EB0D48D82DA3}" type="presOf" srcId="{04C9D5EB-615C-C840-B153-CC2385126CE8}" destId="{CA81B53C-1C6D-3040-BBD9-ADC3591A8715}" srcOrd="0" destOrd="2" presId="urn:microsoft.com/office/officeart/2005/8/layout/target3"/>
    <dgm:cxn modelId="{2F4152B6-653A-C648-9D4C-32D0CAA3AA4E}" type="presOf" srcId="{F496C982-F7D7-9A42-BF4A-1F7DE68F7980}" destId="{C1742707-8515-E64F-A362-F115485E2B7F}" srcOrd="0" destOrd="0" presId="urn:microsoft.com/office/officeart/2005/8/layout/target3"/>
    <dgm:cxn modelId="{DA7F8ABE-CD95-7847-8EB2-25501560F223}" type="presOf" srcId="{84A58E7B-DD01-7F47-BD8F-21F0F33F14E4}" destId="{CA81B53C-1C6D-3040-BBD9-ADC3591A8715}" srcOrd="0" destOrd="0" presId="urn:microsoft.com/office/officeart/2005/8/layout/target3"/>
    <dgm:cxn modelId="{25F774C5-44B9-E243-8549-32C531367ADE}" srcId="{2F1C3B8F-A4EB-9A43-B056-20641A25B255}" destId="{9DDB846C-98CC-7D45-966D-48A337B53969}" srcOrd="4" destOrd="0" parTransId="{316E8DCF-3DF8-784A-BAB5-245BFE9DA348}" sibTransId="{60283FB7-835B-0349-9AF0-764A5186DD27}"/>
    <dgm:cxn modelId="{D4AC69C8-2AF8-DE41-B856-EB3FB9810CDD}" srcId="{ED76D22C-2A11-DB48-9449-35646DB300C2}" destId="{5CDD3236-9870-D141-9A53-7A869CDF8AF7}" srcOrd="0" destOrd="0" parTransId="{23887D61-DFB4-C84B-AC22-EFC5767FCE4F}" sibTransId="{A58B1E88-0607-C44C-83A4-CBC3C71872AC}"/>
    <dgm:cxn modelId="{388163DC-7A56-334C-A273-6709116DE36C}" srcId="{F496C982-F7D7-9A42-BF4A-1F7DE68F7980}" destId="{FC715909-1E08-3247-A3F8-D44782992721}" srcOrd="0" destOrd="0" parTransId="{678767D3-B7CE-A14E-9481-3FFA5A5F1139}" sibTransId="{21A24246-984F-8140-A04F-7965AC9ACA87}"/>
    <dgm:cxn modelId="{C5EC56EB-9B95-4D41-B4A5-B95EB6E66CB8}" type="presOf" srcId="{2F1C3B8F-A4EB-9A43-B056-20641A25B255}" destId="{B329F6A5-B1BC-F54F-815A-DCD3520280A1}" srcOrd="1" destOrd="0" presId="urn:microsoft.com/office/officeart/2005/8/layout/target3"/>
    <dgm:cxn modelId="{A704A7EC-6170-8947-A86F-691462B90563}" type="presOf" srcId="{73A316BF-4D80-7645-9447-9F2A721485E6}" destId="{CA81B53C-1C6D-3040-BBD9-ADC3591A8715}" srcOrd="0" destOrd="3" presId="urn:microsoft.com/office/officeart/2005/8/layout/target3"/>
    <dgm:cxn modelId="{6E7A11EF-461A-FE40-9ABA-7FAFE8EEF1A1}" srcId="{2F1C3B8F-A4EB-9A43-B056-20641A25B255}" destId="{30EB0560-E15B-DA46-89F3-F9417F87358B}" srcOrd="1" destOrd="0" parTransId="{75B96EBC-E089-BB44-99FF-6D0E42537870}" sibTransId="{AA6480F8-DED2-8544-A4FF-033F44EB101B}"/>
    <dgm:cxn modelId="{967158FF-36C4-C44C-9659-1ABCAB5D5BA6}" type="presOf" srcId="{30EB0560-E15B-DA46-89F3-F9417F87358B}" destId="{CA81B53C-1C6D-3040-BBD9-ADC3591A8715}" srcOrd="0" destOrd="1" presId="urn:microsoft.com/office/officeart/2005/8/layout/target3"/>
    <dgm:cxn modelId="{B373BEE3-9B2B-FB47-82F3-BCCFEDD5DB73}" type="presParOf" srcId="{E49C52A8-C713-1945-98D7-AFAF1C0A4ACC}" destId="{BEBB0FBB-3C4A-834E-8689-F17497B49619}" srcOrd="0" destOrd="0" presId="urn:microsoft.com/office/officeart/2005/8/layout/target3"/>
    <dgm:cxn modelId="{F727233C-6120-744D-86BC-1D0BEE7C5D5B}" type="presParOf" srcId="{E49C52A8-C713-1945-98D7-AFAF1C0A4ACC}" destId="{58136330-E90F-404B-848A-E708A2824495}" srcOrd="1" destOrd="0" presId="urn:microsoft.com/office/officeart/2005/8/layout/target3"/>
    <dgm:cxn modelId="{5D792166-1F59-1242-A7FE-862961735807}" type="presParOf" srcId="{E49C52A8-C713-1945-98D7-AFAF1C0A4ACC}" destId="{76BA9DCC-DEEE-D74F-87DD-A90111B987EF}" srcOrd="2" destOrd="0" presId="urn:microsoft.com/office/officeart/2005/8/layout/target3"/>
    <dgm:cxn modelId="{7FB313FB-0B75-5D42-A73A-1EC3D3138F4F}" type="presParOf" srcId="{E49C52A8-C713-1945-98D7-AFAF1C0A4ACC}" destId="{22CF3462-FBE9-2B4D-9E3C-15D14E87586D}" srcOrd="3" destOrd="0" presId="urn:microsoft.com/office/officeart/2005/8/layout/target3"/>
    <dgm:cxn modelId="{F364221C-9BDC-F443-A651-3D8404EB68E2}" type="presParOf" srcId="{E49C52A8-C713-1945-98D7-AFAF1C0A4ACC}" destId="{171B3D0C-BD79-7444-988C-5A3426F8C2C6}" srcOrd="4" destOrd="0" presId="urn:microsoft.com/office/officeart/2005/8/layout/target3"/>
    <dgm:cxn modelId="{C9D0E461-6BA0-4248-9C02-76F7A9120718}" type="presParOf" srcId="{E49C52A8-C713-1945-98D7-AFAF1C0A4ACC}" destId="{72C33C80-B325-8E4F-B5D6-9B01746BFE9E}" srcOrd="5" destOrd="0" presId="urn:microsoft.com/office/officeart/2005/8/layout/target3"/>
    <dgm:cxn modelId="{BF38C022-07D7-654E-AC7C-BA715A36FE8E}" type="presParOf" srcId="{E49C52A8-C713-1945-98D7-AFAF1C0A4ACC}" destId="{28CE7775-6C52-244C-84CD-0F54B4CFE4CB}" srcOrd="6" destOrd="0" presId="urn:microsoft.com/office/officeart/2005/8/layout/target3"/>
    <dgm:cxn modelId="{143D9CDF-527C-0447-98BE-E1D34BFAB5F9}" type="presParOf" srcId="{E49C52A8-C713-1945-98D7-AFAF1C0A4ACC}" destId="{088C4C48-81C5-5942-9DA2-C04AD782ED48}" srcOrd="7" destOrd="0" presId="urn:microsoft.com/office/officeart/2005/8/layout/target3"/>
    <dgm:cxn modelId="{BA4A482E-92D5-C948-BE4B-E9911A9739D4}" type="presParOf" srcId="{E49C52A8-C713-1945-98D7-AFAF1C0A4ACC}" destId="{C1742707-8515-E64F-A362-F115485E2B7F}" srcOrd="8" destOrd="0" presId="urn:microsoft.com/office/officeart/2005/8/layout/target3"/>
    <dgm:cxn modelId="{5FB044AE-861C-0640-8C29-2EFC4D971922}" type="presParOf" srcId="{E49C52A8-C713-1945-98D7-AFAF1C0A4ACC}" destId="{C5784570-F8D7-CF49-A7AE-EEC023DCC7C4}" srcOrd="9" destOrd="0" presId="urn:microsoft.com/office/officeart/2005/8/layout/target3"/>
    <dgm:cxn modelId="{C6418A81-F10F-C848-9CBB-4A0889586BEE}" type="presParOf" srcId="{E49C52A8-C713-1945-98D7-AFAF1C0A4ACC}" destId="{9708546A-702E-934A-BC58-9A2C2419800D}" srcOrd="10" destOrd="0" presId="urn:microsoft.com/office/officeart/2005/8/layout/target3"/>
    <dgm:cxn modelId="{97C36C73-1B84-4249-A116-CB287C7A55AF}" type="presParOf" srcId="{E49C52A8-C713-1945-98D7-AFAF1C0A4ACC}" destId="{B329F6A5-B1BC-F54F-815A-DCD3520280A1}" srcOrd="11" destOrd="0" presId="urn:microsoft.com/office/officeart/2005/8/layout/target3"/>
    <dgm:cxn modelId="{9BDFE1E7-747D-EB47-B31A-640EE1F0D532}" type="presParOf" srcId="{E49C52A8-C713-1945-98D7-AFAF1C0A4ACC}" destId="{CA81B53C-1C6D-3040-BBD9-ADC3591A8715}" srcOrd="12" destOrd="0" presId="urn:microsoft.com/office/officeart/2005/8/layout/target3"/>
    <dgm:cxn modelId="{ED0298F4-88CC-2F41-8284-60A5BD67694A}" type="presParOf" srcId="{E49C52A8-C713-1945-98D7-AFAF1C0A4ACC}" destId="{0A030712-0DCB-DC42-95F0-CA366EA7356E}" srcOrd="13" destOrd="0" presId="urn:microsoft.com/office/officeart/2005/8/layout/target3"/>
    <dgm:cxn modelId="{D8590383-7A33-E24E-BE20-7D76C0A8DE93}" type="presParOf" srcId="{E49C52A8-C713-1945-98D7-AFAF1C0A4ACC}" destId="{13431151-A1DD-F941-AA5D-7C2C720C6111}" srcOrd="14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EBB0FBB-3C4A-834E-8689-F17497B49619}">
      <dsp:nvSpPr>
        <dsp:cNvPr id="0" name=""/>
        <dsp:cNvSpPr/>
      </dsp:nvSpPr>
      <dsp:spPr>
        <a:xfrm>
          <a:off x="0" y="0"/>
          <a:ext cx="3200399" cy="3200399"/>
        </a:xfrm>
        <a:prstGeom prst="pie">
          <a:avLst>
            <a:gd name="adj1" fmla="val 5400000"/>
            <a:gd name="adj2" fmla="val 162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BA9DCC-DEEE-D74F-87DD-A90111B987EF}">
      <dsp:nvSpPr>
        <dsp:cNvPr id="0" name=""/>
        <dsp:cNvSpPr/>
      </dsp:nvSpPr>
      <dsp:spPr>
        <a:xfrm>
          <a:off x="1600199" y="0"/>
          <a:ext cx="3886200" cy="320039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WASH in 71 Schools</a:t>
          </a:r>
        </a:p>
      </dsp:txBody>
      <dsp:txXfrm>
        <a:off x="1600199" y="0"/>
        <a:ext cx="1943100" cy="960122"/>
      </dsp:txXfrm>
    </dsp:sp>
    <dsp:sp modelId="{171B3D0C-BD79-7444-988C-5A3426F8C2C6}">
      <dsp:nvSpPr>
        <dsp:cNvPr id="0" name=""/>
        <dsp:cNvSpPr/>
      </dsp:nvSpPr>
      <dsp:spPr>
        <a:xfrm>
          <a:off x="560071" y="960122"/>
          <a:ext cx="2080257" cy="2080257"/>
        </a:xfrm>
        <a:prstGeom prst="pie">
          <a:avLst>
            <a:gd name="adj1" fmla="val 5400000"/>
            <a:gd name="adj2" fmla="val 16200000"/>
          </a:avLst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C33C80-B325-8E4F-B5D6-9B01746BFE9E}">
      <dsp:nvSpPr>
        <dsp:cNvPr id="0" name=""/>
        <dsp:cNvSpPr/>
      </dsp:nvSpPr>
      <dsp:spPr>
        <a:xfrm>
          <a:off x="1600199" y="960122"/>
          <a:ext cx="3886200" cy="208025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355300"/>
              <a:satOff val="50000"/>
              <a:lumOff val="-7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WASH in 12 HCFs</a:t>
          </a:r>
        </a:p>
      </dsp:txBody>
      <dsp:txXfrm>
        <a:off x="1600199" y="960122"/>
        <a:ext cx="1943100" cy="960118"/>
      </dsp:txXfrm>
    </dsp:sp>
    <dsp:sp modelId="{088C4C48-81C5-5942-9DA2-C04AD782ED48}">
      <dsp:nvSpPr>
        <dsp:cNvPr id="0" name=""/>
        <dsp:cNvSpPr/>
      </dsp:nvSpPr>
      <dsp:spPr>
        <a:xfrm>
          <a:off x="1120140" y="1920240"/>
          <a:ext cx="960119" cy="960119"/>
        </a:xfrm>
        <a:prstGeom prst="pie">
          <a:avLst>
            <a:gd name="adj1" fmla="val 5400000"/>
            <a:gd name="adj2" fmla="val 1620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742707-8515-E64F-A362-F115485E2B7F}">
      <dsp:nvSpPr>
        <dsp:cNvPr id="0" name=""/>
        <dsp:cNvSpPr/>
      </dsp:nvSpPr>
      <dsp:spPr>
        <a:xfrm>
          <a:off x="1600199" y="1920240"/>
          <a:ext cx="3886200" cy="96011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710599"/>
              <a:satOff val="100000"/>
              <a:lumOff val="-1470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WASH in 7 Communities</a:t>
          </a:r>
        </a:p>
      </dsp:txBody>
      <dsp:txXfrm>
        <a:off x="1600199" y="1920240"/>
        <a:ext cx="1943100" cy="960119"/>
      </dsp:txXfrm>
    </dsp:sp>
    <dsp:sp modelId="{9708546A-702E-934A-BC58-9A2C2419800D}">
      <dsp:nvSpPr>
        <dsp:cNvPr id="0" name=""/>
        <dsp:cNvSpPr/>
      </dsp:nvSpPr>
      <dsp:spPr>
        <a:xfrm>
          <a:off x="3543300" y="0"/>
          <a:ext cx="1943100" cy="96012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Group Handwashing Station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 dirty="0"/>
            <a:t>Separate toilets for boys and girl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Incinerators &amp; MHM advocacy</a:t>
          </a:r>
        </a:p>
      </dsp:txBody>
      <dsp:txXfrm>
        <a:off x="3543300" y="0"/>
        <a:ext cx="1943100" cy="960122"/>
      </dsp:txXfrm>
    </dsp:sp>
    <dsp:sp modelId="{CA81B53C-1C6D-3040-BBD9-ADC3591A8715}">
      <dsp:nvSpPr>
        <dsp:cNvPr id="0" name=""/>
        <dsp:cNvSpPr/>
      </dsp:nvSpPr>
      <dsp:spPr>
        <a:xfrm>
          <a:off x="3543300" y="960122"/>
          <a:ext cx="1943100" cy="960118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Piped Water Systems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Hand Hygiene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Sanitation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Waste Management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00" kern="1200"/>
        </a:p>
      </dsp:txBody>
      <dsp:txXfrm>
        <a:off x="3543300" y="960122"/>
        <a:ext cx="1943100" cy="960118"/>
      </dsp:txXfrm>
    </dsp:sp>
    <dsp:sp modelId="{13431151-A1DD-F941-AA5D-7C2C720C6111}">
      <dsp:nvSpPr>
        <dsp:cNvPr id="0" name=""/>
        <dsp:cNvSpPr/>
      </dsp:nvSpPr>
      <dsp:spPr>
        <a:xfrm>
          <a:off x="3543300" y="1920240"/>
          <a:ext cx="1943100" cy="960119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Water systems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100" kern="1200"/>
            <a:t>Sanitation </a:t>
          </a: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100" kern="1200"/>
        </a:p>
      </dsp:txBody>
      <dsp:txXfrm>
        <a:off x="3543300" y="1920240"/>
        <a:ext cx="1943100" cy="9601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2EE518-40B2-5244-B6B8-00E9D237F792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456B2AF-64B7-4D4F-A28A-659DBC8ADC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71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id="{3D8F5BF0-DED6-4FFC-8244-132CF852CCD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17638" y="1163638"/>
            <a:ext cx="4187825" cy="31416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id="{74212727-6AC3-4B13-9FAE-D9B80E0707E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Conditions such as this are common in too many countries in the developing world—little wonder the corona virus is taking such a toll</a:t>
            </a:r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id="{CEE06657-362C-4694-A092-092C80071C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9BE8455-3C83-43F5-B583-FC69FFFAC0C4}" type="slidenum">
              <a:rPr lang="en-US" altLang="en-US" smtClean="0">
                <a:latin typeface="Calibri" panose="020F0502020204030204" pitchFamily="34" charset="0"/>
              </a:rPr>
              <a:pPr/>
              <a:t>1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6456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ften, neonates and their mothers are particularly vulnerable to infections that are transmitted due to poor WASH conditions. 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570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fine “improved” sanitation. More on “waste” no handwashing for staff or patients. Need for segregation of was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520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55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293" y="6356351"/>
            <a:ext cx="399340" cy="365125"/>
          </a:xfrm>
        </p:spPr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531CC-30CE-B948-95A0-8AD023F59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0"/>
            <a:ext cx="3549586" cy="35128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6C1971-F6E3-894F-9D00-E7B1528AA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5051" y="5832433"/>
            <a:ext cx="3071242" cy="10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34199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68391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9898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TK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 hidden="1">
            <a:extLst>
              <a:ext uri="{FF2B5EF4-FFF2-40B4-BE49-F238E27FC236}">
                <a16:creationId xmlns:a16="http://schemas.microsoft.com/office/drawing/2014/main" id="{CAD64C2E-93D6-4AF8-B7ED-1CC4893512F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590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2EA9AC-786B-4AE1-8091-61B68238BB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3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1419363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_tradnl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8F2630A-BD6E-4A3A-8A82-BBA3DBDE2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3142A1-7031-4714-82B7-722221E18CC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79D1434A-4479-4DF9-A40D-D855102F1B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249738" y="6248402"/>
            <a:ext cx="39941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363EEF-9B51-5944-9254-ECE7BEDB1C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55" y="133746"/>
            <a:ext cx="4351745" cy="14847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25D296D-46AE-6149-A037-5EF0C3978D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0784" y="3429000"/>
            <a:ext cx="3604337" cy="360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98184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CA88B-5D26-42BA-A8F7-81FEDCC1A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F75618-1689-4C3F-9CCA-CEDE526222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92D6A-1625-4470-9125-4907F70EF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C97D4-90B8-4A46-B34C-9673F6886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C1F81E-BC20-4CE4-BC31-25FF58287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72538195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C43B-547A-4F34-BFC4-F7B19A6B3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3A180C-11EA-4FA5-A979-569D23C18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9268A-AA6D-4B3D-AFD9-FA2C9F9DA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35E16-00F2-4082-8062-A34CC0D64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EAA66-B102-444C-9034-19273C8C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6057338"/>
      </p:ext>
    </p:extLst>
  </p:cSld>
  <p:clrMapOvr>
    <a:masterClrMapping/>
  </p:clrMapOvr>
  <p:transition spd="slow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3D048-0EA3-461B-AE22-E180446B2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7B4C-FE16-4D56-B4FC-F2A1D84B17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F82A4-7F40-41DE-AC4C-953CC2785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F76C0-570D-49E0-B30C-576A27989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96680-76ED-447B-8ABE-B93788017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74532738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A394C-D32A-4F22-BCD5-768F3D6F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D2342-39C7-46C5-9B02-69133A0987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7DE54D-ED03-4ADF-A0AE-70699182A2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6924DC-D92B-4C4D-8F67-F7739E102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3BD1C6-8302-4957-81C7-92C59C8A7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902C3B-3A11-42D7-BCF9-E02502F71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87533014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393D6-4D01-4652-9050-1277F7895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4ADB77-C730-43E2-BCD7-1A26CBD37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BDC329-725E-437F-8E4F-5F3D5C7682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6F9169-4754-4F75-B0C8-9907B5224B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715D61-F4BD-4397-8F21-7944263A1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F4F3B3-CCA9-4E53-ADC5-2FDF0F3A9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BF850A-3448-450D-A57E-B1B66C253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67123-9EBE-4B55-8DAF-4D4D26D23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34573516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0EABC-1471-45C6-A292-6C72BF731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83D675-86BA-4ED8-8C2A-12C05A316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105773-46A1-4EC5-B1E7-68809D1E8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8270E-56E3-4879-ABC5-D4FFCC340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56659436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96D9FD-C8CB-452A-A9A9-75A6A0D80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5B2F1B-67E2-487D-9F59-FE9D17204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43141E-310F-4D64-97D5-8ACEA7A81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72650839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296154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46E31-8A0C-4DCB-A289-259668A05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D84413-BB80-4858-8FD8-6F3B2B9FE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1C200D-D194-41F9-86D3-6DA0969AA4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CB8291-4CBE-48C6-A23A-17624D745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961477-3089-48C8-ABFA-CF7BDC436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55BB70-E471-4BC9-B5CC-77D7F80CE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056436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4C829-D766-43FD-ACF7-5FDCF8DD3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2BED52-F15D-42FC-983D-EE796EB447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7C03E-3E8A-458D-9827-E6144B849C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E6CAE-1338-465C-B2EB-77C9AB168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5EA27-927C-46BC-A78E-0270F7358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AA65E5-0D69-42E2-A1E6-6EC48FC4B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37609710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030CD-9172-4405-B843-47FB4E2B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392AD7-7BE7-4C3F-BA52-88DA65C2EF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1D443-7066-4BB3-9EE2-C841EDEA8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CC5C2-2676-4FC2-B324-7A78694DD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3D8F0-3F92-4F97-B841-1CC268E56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90495241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CB557D-CCDB-40F0-81C8-2555653CD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27CFEB-F2B1-47A3-B0C3-BDF8DEAD4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432C39-92D3-409A-A9AB-D60593CC5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253531-8D96-4E90-8D63-A3FF43F1E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AA2FB-D835-4F3E-AAD3-C7006FAC8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5743970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52B10-9B13-47D0-8E7D-C6FDBB899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76E43-8E61-475B-A9CA-B0AF41FC1E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35901-6C2A-47F3-AF91-73F28C00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254AAA-BED9-4933-91C3-FB52E261E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60255-C583-49F5-88BF-42BA2F62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83127677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F3B76-3346-4187-BD13-4151E4E09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AAD06-2BE5-497B-B302-D0675AFA70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104E4D-AA82-409A-8F7C-669DF99A3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D38BC-23E4-4350-92A1-5ECA2B239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1A554-4BE0-483A-9829-B4C28EAA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14964923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B31C3-0099-4A3F-84DE-C3AA5C1A6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9203D-EB40-49DB-8F44-44089B7E9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D4FE4-94F4-45C1-9185-3E3A32366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AAD110-F276-49E2-9E5C-D810216F9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913E9-4062-4A67-9A43-9C3DF801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04732969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4BAED-EE42-4446-B9C4-B0587F7BA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2856A9-564B-4A8B-BAED-A7D3A20EC9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23F572-4FCC-401A-A0E2-07EF756DC4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071FBB-0B4E-41F6-8F13-D293C3054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0E0EB1-FBC8-4EDC-B1B5-CD1010FB1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3DF1E0-272A-41D0-82AD-35D90E6C4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6546478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F1F55-DB7D-426C-B715-5FEE54BFE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29277B-51A6-40A0-9D51-DCC5DB518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45AFE-124D-4E2C-8B47-8E283CAD4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D12523-A035-46E9-9520-499D7980D5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FBA7C6-5CB8-4EE8-A09D-8AD2A9EA12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C54BD9-23DF-4CD6-80BB-06CDDDE17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E0E275-1786-431F-8E3F-0A5A7EE82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0EEADF-196A-4A49-BBD5-F75365319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3107209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3A90E-5AE4-42DD-ABBB-98489F45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CBB60B-43F3-4E24-B733-D8877AD7B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3B86F1-11E1-499E-9E50-2121D98EE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CE387E-423B-469B-B64D-FDB74E48E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3943200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335444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0D3DBF-6079-40B3-A019-DDA700445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A4D9F1-4338-43A1-A2A0-1DF86739E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EA9C-D5A6-4E3D-9551-7E7BF5337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1236472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7E852-D201-4E9A-A839-818C4D5B8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5ADEE-6238-42E1-BEFF-C9D4BAEE8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B26846-7209-4594-8C1C-5C58084A49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D6C16-164D-4E2B-A6BC-5F34EDC16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B414AF-F868-4737-84B4-06194192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FC01AF-6B73-43A0-A819-0DA5C896A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7424005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601E3-AD7E-41C8-AD2C-ACB81DAFA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B36080-562A-4E15-9E70-8D87D2301F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437E63-B825-4E3F-BBCE-63CB0F1C88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234A60-E609-4050-9294-E2D8F7822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4510A6-3A98-4621-AF92-83789F69A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FCA75-1C6C-4732-BD40-EFA35B9CC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3430721"/>
      </p:ext>
    </p:extLst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61374-9428-4895-971B-7FA75C1A9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B96DA4-A00B-4278-910C-CBFE54536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06706-B8F0-41CB-B84E-6A0EA526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0B96A-01EE-4B9B-B937-AB7971939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61FDE-27D7-4935-AC5B-3C544131C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05864811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073D9B-62D3-44BF-9BF3-660C3CAF4F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3EDB9A-86CB-4158-AAB0-750DAE8CC6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823E4-4E98-42C2-9C8E-2A89C84D0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84DB38-997E-4196-8513-E36D50DC3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E75B3-3652-40F9-886C-2178C43A4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53435205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330758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047269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38356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38388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71249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48511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01DC6-C509-8A4A-B3B4-1C4091C54CB6}" type="datetimeFigureOut">
              <a:rPr lang="en-US" smtClean="0"/>
              <a:t>6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03745C-9B08-40A5-B013-407D70C9CC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29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9634D5-BD21-4CA4-AD53-3BAEEC93A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9EF2BB-5779-4E39-AF9F-5F0AAD4584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92C461-3D37-474D-9159-BCFD66F3EC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128A3-A756-4A8E-94FD-519336E19EBA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29CA8-AB37-442D-9DF2-C37EB071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1271AC-9C80-46C8-9307-7D780F01A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80174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A43F1A-0DC5-4F18-8D90-A59717E57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4EFD0-B093-4399-B938-6EA1F8792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272002-336E-4456-94F8-4A17351F7B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2AF24C-5C48-4D4C-87B0-E1D562B22F03}" type="datetimeFigureOut">
              <a:rPr lang="en-CA" smtClean="0"/>
              <a:t>2023-06-27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8E7CCB-83EA-4EA0-AD15-D5B70E2DB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E57CD2-D744-4D2D-AB8A-C7BCB65C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17806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tif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Box 4">
            <a:extLst>
              <a:ext uri="{FF2B5EF4-FFF2-40B4-BE49-F238E27FC236}">
                <a16:creationId xmlns:a16="http://schemas.microsoft.com/office/drawing/2014/main" id="{ED13F15B-A93F-4B42-8148-E3E2E8A056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3238" y="3677240"/>
            <a:ext cx="3866525" cy="179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b="1" dirty="0">
                <a:solidFill>
                  <a:srgbClr val="FAAF3C"/>
                </a:solidFill>
                <a:latin typeface="+mn-lt"/>
              </a:rPr>
              <a:t>Anne </a:t>
            </a:r>
            <a:r>
              <a:rPr lang="en-US" altLang="en-US" sz="1800" b="1" dirty="0" err="1">
                <a:solidFill>
                  <a:srgbClr val="FAAF3C"/>
                </a:solidFill>
                <a:latin typeface="+mn-lt"/>
              </a:rPr>
              <a:t>Nkutu</a:t>
            </a:r>
            <a:br>
              <a:rPr lang="en-US" altLang="en-US" sz="1800" dirty="0">
                <a:solidFill>
                  <a:srgbClr val="FAAF3C"/>
                </a:solidFill>
                <a:latin typeface="+mn-lt"/>
              </a:rPr>
            </a:br>
            <a:r>
              <a:rPr lang="en-US" altLang="en-US" sz="1800" dirty="0">
                <a:solidFill>
                  <a:srgbClr val="FAAF3C"/>
                </a:solidFill>
                <a:latin typeface="+mn-lt"/>
              </a:rPr>
              <a:t>Host </a:t>
            </a:r>
            <a:r>
              <a:rPr lang="en-US" altLang="en-US" sz="1800" dirty="0" err="1">
                <a:solidFill>
                  <a:srgbClr val="FAAF3C"/>
                </a:solidFill>
                <a:latin typeface="+mn-lt"/>
              </a:rPr>
              <a:t>Organising</a:t>
            </a:r>
            <a:r>
              <a:rPr lang="en-US" altLang="en-US" sz="1800" dirty="0">
                <a:solidFill>
                  <a:srgbClr val="FAAF3C"/>
                </a:solidFill>
                <a:latin typeface="+mn-lt"/>
              </a:rPr>
              <a:t> Committee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dirty="0">
                <a:solidFill>
                  <a:srgbClr val="FAAF3C"/>
                </a:solidFill>
                <a:latin typeface="+mn-lt"/>
              </a:rPr>
              <a:t>RI-USAID WASH </a:t>
            </a:r>
            <a:r>
              <a:rPr lang="en-US" altLang="en-US" sz="1800" dirty="0" err="1">
                <a:solidFill>
                  <a:srgbClr val="FAAF3C"/>
                </a:solidFill>
                <a:latin typeface="+mn-lt"/>
              </a:rPr>
              <a:t>Programme</a:t>
            </a:r>
            <a:endParaRPr lang="en-US" altLang="en-US" sz="1800" dirty="0">
              <a:solidFill>
                <a:srgbClr val="FAAF3C"/>
              </a:solidFill>
              <a:latin typeface="+mn-lt"/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dirty="0">
              <a:solidFill>
                <a:srgbClr val="FAAF3C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AC1BDC-5708-2342-BC17-A67F1B0EDA67}"/>
              </a:ext>
            </a:extLst>
          </p:cNvPr>
          <p:cNvSpPr/>
          <p:nvPr/>
        </p:nvSpPr>
        <p:spPr>
          <a:xfrm>
            <a:off x="0" y="0"/>
            <a:ext cx="9144000" cy="3185756"/>
          </a:xfrm>
          <a:prstGeom prst="rect">
            <a:avLst/>
          </a:prstGeom>
          <a:solidFill>
            <a:srgbClr val="2A5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F51CE-9356-8F47-A6DF-1DAD62072D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452" y="5693587"/>
            <a:ext cx="3085228" cy="10526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4246EE-2D2E-FF42-A710-C2E8F4DBCC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328" y="4385995"/>
            <a:ext cx="2616346" cy="261518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9096AA-0B35-1146-820F-1AB0EEB3ACD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7000"/>
          </a:blip>
          <a:stretch>
            <a:fillRect/>
          </a:stretch>
        </p:blipFill>
        <p:spPr>
          <a:xfrm>
            <a:off x="-482666" y="70809"/>
            <a:ext cx="3760469" cy="3008375"/>
          </a:xfrm>
          <a:prstGeom prst="rect">
            <a:avLst/>
          </a:prstGeom>
        </p:spPr>
      </p:pic>
      <p:sp>
        <p:nvSpPr>
          <p:cNvPr id="15364" name="TextBox 15">
            <a:extLst>
              <a:ext uri="{FF2B5EF4-FFF2-40B4-BE49-F238E27FC236}">
                <a16:creationId xmlns:a16="http://schemas.microsoft.com/office/drawing/2014/main" id="{FC2207E6-2DC2-4EE8-91E7-BBF301FC3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473" y="808048"/>
            <a:ext cx="7845053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>
            <a:spAutoFit/>
          </a:bodyPr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0"/>
              </a:spcBef>
              <a:buClrTx/>
              <a:buSzTx/>
              <a:buNone/>
            </a:pPr>
            <a:r>
              <a:rPr lang="en-US" altLang="en-US" sz="3200" b="1" dirty="0">
                <a:solidFill>
                  <a:schemeClr val="bg1"/>
                </a:solidFill>
                <a:latin typeface="+mn-lt"/>
              </a:rPr>
              <a:t>Advocacy for Water, Sanitation &amp; Hygiene (WASH) in Health Care Facilities in Uganda</a:t>
            </a:r>
            <a:br>
              <a:rPr lang="en-US" altLang="en-US" sz="4800" b="1" dirty="0">
                <a:solidFill>
                  <a:schemeClr val="bg1"/>
                </a:solidFill>
                <a:latin typeface="+mn-lt"/>
              </a:rPr>
            </a:br>
            <a:endParaRPr lang="en-US" altLang="en-US" sz="2000" b="1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6E108A1-0C74-414E-BF23-F354F5514AB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9844" y="2409804"/>
            <a:ext cx="5634156" cy="31680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394418" y="644651"/>
            <a:ext cx="7886700" cy="1011554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WASH in HCF is the intersection of WASH and Healthcare: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BB14C39-6063-C743-BF3C-032FD4A2D2A7}"/>
              </a:ext>
            </a:extLst>
          </p:cNvPr>
          <p:cNvSpPr/>
          <p:nvPr/>
        </p:nvSpPr>
        <p:spPr>
          <a:xfrm>
            <a:off x="501446" y="2413629"/>
            <a:ext cx="8259095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dirty="0"/>
              <a:t>Beyond medicine, water is the greatest need at a Health Centre.</a:t>
            </a:r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43237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D5CF06D-CF5C-8D46-8897-B28A0E8C63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7097" y="338495"/>
            <a:ext cx="5205697" cy="6120000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872F7C-B2A7-5649-86B9-725544B200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0" y="1305232"/>
            <a:ext cx="3657600" cy="48006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ccess to safe water, sanitation and hygiene (WASH) is critical for infection prevention and control (IPC) especially in health faciliti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But many lack the basic WASH infrastructure.</a:t>
            </a:r>
          </a:p>
          <a:p>
            <a:endParaRPr lang="en-US" sz="2800" dirty="0"/>
          </a:p>
          <a:p>
            <a:endParaRPr lang="en-US" sz="2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6893901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394418" y="644651"/>
            <a:ext cx="7886700" cy="1011554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And the need is critical in healthcare facilities in Uganda: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F34A6AA9-6FF8-7E4F-9A76-DBF391928D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3892512"/>
              </p:ext>
            </p:extLst>
          </p:nvPr>
        </p:nvGraphicFramePr>
        <p:xfrm>
          <a:off x="497657" y="1892180"/>
          <a:ext cx="8195190" cy="3803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853117">
                  <a:extLst>
                    <a:ext uri="{9D8B030D-6E8A-4147-A177-3AD203B41FA5}">
                      <a16:colId xmlns:a16="http://schemas.microsoft.com/office/drawing/2014/main" val="2800789165"/>
                    </a:ext>
                  </a:extLst>
                </a:gridCol>
                <a:gridCol w="884903">
                  <a:extLst>
                    <a:ext uri="{9D8B030D-6E8A-4147-A177-3AD203B41FA5}">
                      <a16:colId xmlns:a16="http://schemas.microsoft.com/office/drawing/2014/main" val="1661708947"/>
                    </a:ext>
                  </a:extLst>
                </a:gridCol>
                <a:gridCol w="1165123">
                  <a:extLst>
                    <a:ext uri="{9D8B030D-6E8A-4147-A177-3AD203B41FA5}">
                      <a16:colId xmlns:a16="http://schemas.microsoft.com/office/drawing/2014/main" val="1054701596"/>
                    </a:ext>
                  </a:extLst>
                </a:gridCol>
                <a:gridCol w="1040661">
                  <a:extLst>
                    <a:ext uri="{9D8B030D-6E8A-4147-A177-3AD203B41FA5}">
                      <a16:colId xmlns:a16="http://schemas.microsoft.com/office/drawing/2014/main" val="199936247"/>
                    </a:ext>
                  </a:extLst>
                </a:gridCol>
                <a:gridCol w="1251386">
                  <a:extLst>
                    <a:ext uri="{9D8B030D-6E8A-4147-A177-3AD203B41FA5}">
                      <a16:colId xmlns:a16="http://schemas.microsoft.com/office/drawing/2014/main" val="2469181745"/>
                    </a:ext>
                  </a:extLst>
                </a:gridCol>
              </a:tblGrid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Service Levels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979741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Indicators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Zero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Limit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Basic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Advanced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88455641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Access to safe water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17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2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60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18858338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Access to sanitation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10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8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5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4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53064135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Access to Hand Hygiene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1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46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21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49074797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Environmental cleanliness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3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40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8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1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8990757"/>
                  </a:ext>
                </a:extLst>
              </a:tr>
              <a:tr h="5119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Safe medical waste management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3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18%</a:t>
                      </a:r>
                      <a:endParaRPr lang="en-US" sz="2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56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23%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45243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4215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192B5F3-52A1-0C40-AC98-627832C6281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7851" y="1814052"/>
            <a:ext cx="5651500" cy="337942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A91A427-AE85-5446-83EC-EEC0CF8AB5E5}"/>
              </a:ext>
            </a:extLst>
          </p:cNvPr>
          <p:cNvSpPr txBox="1"/>
          <p:nvPr/>
        </p:nvSpPr>
        <p:spPr>
          <a:xfrm>
            <a:off x="132735" y="270046"/>
            <a:ext cx="9143999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2800" dirty="0"/>
              <a:t>New-born mortality rate @ 27 deaths per 1,000 live births</a:t>
            </a:r>
          </a:p>
          <a:p>
            <a:pPr marL="342900" indent="-342900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2800" dirty="0"/>
              <a:t>31% of these deaths are due to neonatal sepsis.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290714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44C72-C51B-4445-91A3-471ABDDA7BAE}"/>
              </a:ext>
            </a:extLst>
          </p:cNvPr>
          <p:cNvSpPr txBox="1">
            <a:spLocks/>
          </p:cNvSpPr>
          <p:nvPr/>
        </p:nvSpPr>
        <p:spPr>
          <a:xfrm>
            <a:off x="347930" y="720098"/>
            <a:ext cx="8448140" cy="5893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RI-USAID WASH PROGRAMME IN UGANDA: </a:t>
            </a:r>
            <a:br>
              <a:rPr lang="en-US" sz="3600" b="1" dirty="0">
                <a:solidFill>
                  <a:schemeClr val="accent1"/>
                </a:solidFill>
                <a:latin typeface="+mn-lt"/>
              </a:rPr>
            </a:b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C30B0A-07B8-2347-A8D0-E837126A84F4}"/>
              </a:ext>
            </a:extLst>
          </p:cNvPr>
          <p:cNvSpPr txBox="1"/>
          <p:nvPr/>
        </p:nvSpPr>
        <p:spPr>
          <a:xfrm>
            <a:off x="1592825" y="1460090"/>
            <a:ext cx="6754762" cy="3937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B7783A5-3B4E-DC47-A3D1-768738ADEF7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5245534"/>
              </p:ext>
            </p:extLst>
          </p:nvPr>
        </p:nvGraphicFramePr>
        <p:xfrm>
          <a:off x="1828800" y="1828800"/>
          <a:ext cx="5486400" cy="32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6F2B6326-F644-B64E-9DF3-DA940C39CBA1}"/>
              </a:ext>
            </a:extLst>
          </p:cNvPr>
          <p:cNvSpPr/>
          <p:nvPr/>
        </p:nvSpPr>
        <p:spPr>
          <a:xfrm>
            <a:off x="347929" y="4538264"/>
            <a:ext cx="2070805" cy="2088000"/>
          </a:xfrm>
          <a:prstGeom prst="ellipse">
            <a:avLst/>
          </a:prstGeom>
          <a:solidFill>
            <a:srgbClr val="01B4E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44,171 </a:t>
            </a:r>
            <a:r>
              <a:rPr lang="en-US" sz="2800" kern="0" dirty="0">
                <a:solidFill>
                  <a:srgbClr val="FFFFFF"/>
                </a:solidFill>
              </a:rPr>
              <a:t>p</a:t>
            </a:r>
            <a:r>
              <a:rPr kumimoji="0" lang="en-US" sz="2800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ersons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reached </a:t>
            </a:r>
          </a:p>
        </p:txBody>
      </p:sp>
    </p:spTree>
    <p:extLst>
      <p:ext uri="{BB962C8B-B14F-4D97-AF65-F5344CB8AC3E}">
        <p14:creationId xmlns:p14="http://schemas.microsoft.com/office/powerpoint/2010/main" val="2841707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D9A986-2C60-B845-9D9D-73C45856C12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01445" y="291384"/>
            <a:ext cx="7886700" cy="1109714"/>
          </a:xfrm>
        </p:spPr>
        <p:txBody>
          <a:bodyPr/>
          <a:lstStyle/>
          <a:p>
            <a:r>
              <a:rPr lang="en-US" dirty="0"/>
              <a:t>WASH in HCFs: Activit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D197380-B683-C146-82C9-A0B496238F4B}"/>
              </a:ext>
            </a:extLst>
          </p:cNvPr>
          <p:cNvSpPr txBox="1"/>
          <p:nvPr/>
        </p:nvSpPr>
        <p:spPr>
          <a:xfrm>
            <a:off x="501445" y="1917290"/>
            <a:ext cx="8141110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Stakeholder Engagement: Local Government &amp; HCF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Community Engagement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Extension of piped water supply to IPC points &amp; maternity wing.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Installation of hand basins in </a:t>
            </a:r>
            <a:r>
              <a:rPr lang="en-US" sz="2800" dirty="0" err="1"/>
              <a:t>labour</a:t>
            </a:r>
            <a:r>
              <a:rPr lang="en-US" sz="2800" dirty="0"/>
              <a:t> suites, OPD, consultation areas and laboratories.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Capacity Building for HCF Staff on IPC guidelin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O &amp; M training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US" sz="2800" dirty="0"/>
              <a:t>Awareness raising for HCF user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62520F-012F-934B-A0C1-13195A3C8A93}"/>
              </a:ext>
            </a:extLst>
          </p:cNvPr>
          <p:cNvSpPr txBox="1"/>
          <p:nvPr/>
        </p:nvSpPr>
        <p:spPr>
          <a:xfrm>
            <a:off x="619432" y="1401098"/>
            <a:ext cx="77687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highlight>
                  <a:srgbClr val="00FF00"/>
                </a:highlight>
              </a:rPr>
              <a:t>Supporting </a:t>
            </a:r>
            <a:r>
              <a:rPr lang="en-US" sz="2000" b="1" dirty="0" err="1">
                <a:highlight>
                  <a:srgbClr val="00FF00"/>
                </a:highlight>
              </a:rPr>
              <a:t>GoU</a:t>
            </a:r>
            <a:r>
              <a:rPr lang="en-US" sz="2000" b="1" dirty="0">
                <a:highlight>
                  <a:srgbClr val="00FF00"/>
                </a:highlight>
              </a:rPr>
              <a:t> and </a:t>
            </a:r>
            <a:r>
              <a:rPr lang="en-US" sz="2000" b="1" dirty="0" err="1">
                <a:highlight>
                  <a:srgbClr val="00FF00"/>
                </a:highlight>
              </a:rPr>
              <a:t>MoH</a:t>
            </a:r>
            <a:r>
              <a:rPr lang="en-US" sz="2000" b="1" dirty="0">
                <a:highlight>
                  <a:srgbClr val="00FF00"/>
                </a:highlight>
              </a:rPr>
              <a:t> on (WHO/JMP WASH in HCFs standards 2008)</a:t>
            </a:r>
          </a:p>
        </p:txBody>
      </p:sp>
    </p:spTree>
    <p:extLst>
      <p:ext uri="{BB962C8B-B14F-4D97-AF65-F5344CB8AC3E}">
        <p14:creationId xmlns:p14="http://schemas.microsoft.com/office/powerpoint/2010/main" val="1940659554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E6CE3-ABC3-F34E-B508-586407AAFCF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39212" y="365125"/>
            <a:ext cx="7547487" cy="1325563"/>
          </a:xfrm>
        </p:spPr>
        <p:txBody>
          <a:bodyPr/>
          <a:lstStyle/>
          <a:p>
            <a:r>
              <a:rPr lang="en-US" dirty="0"/>
              <a:t>Outcome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B0D3427-FAAE-4F43-820B-684B18E374EA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929148" y="1825625"/>
            <a:ext cx="6957552" cy="3631278"/>
          </a:xfrm>
        </p:spPr>
        <p:txBody>
          <a:bodyPr>
            <a:normAutofit/>
          </a:bodyPr>
          <a:lstStyle/>
          <a:p>
            <a:r>
              <a:rPr lang="en-US" dirty="0"/>
              <a:t>Written cleaning protocols</a:t>
            </a:r>
          </a:p>
          <a:p>
            <a:r>
              <a:rPr lang="en-US" dirty="0"/>
              <a:t> Handwashing stations at all critical points of HCF</a:t>
            </a:r>
          </a:p>
          <a:p>
            <a:r>
              <a:rPr lang="en-US" dirty="0"/>
              <a:t>MoU with Local Governments on O &amp; M</a:t>
            </a:r>
          </a:p>
          <a:p>
            <a:r>
              <a:rPr lang="en-US" dirty="0"/>
              <a:t>Increment of WASH Budget for HCF</a:t>
            </a:r>
          </a:p>
          <a:p>
            <a:r>
              <a:rPr lang="en-US" dirty="0"/>
              <a:t>Ministry of Health directive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845444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CC59A6-D09B-427B-A803-E30B8A04EEDE}"/>
              </a:ext>
            </a:extLst>
          </p:cNvPr>
          <p:cNvSpPr/>
          <p:nvPr/>
        </p:nvSpPr>
        <p:spPr>
          <a:xfrm>
            <a:off x="1316730" y="621170"/>
            <a:ext cx="807618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i="1" dirty="0">
                <a:solidFill>
                  <a:srgbClr val="2A56A6"/>
                </a:solidFill>
              </a:rPr>
              <a:t>Join the WASH Rotary Action Group and MAKE A DIFFERENC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375717-AFA4-4F19-9F96-E3B04E2F1207}"/>
              </a:ext>
            </a:extLst>
          </p:cNvPr>
          <p:cNvSpPr txBox="1"/>
          <p:nvPr/>
        </p:nvSpPr>
        <p:spPr>
          <a:xfrm>
            <a:off x="4437076" y="3666897"/>
            <a:ext cx="55678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solidFill>
                  <a:srgbClr val="00B2C0"/>
                </a:solidFill>
              </a:rPr>
              <a:t> </a:t>
            </a:r>
            <a:r>
              <a:rPr lang="en-US" sz="3600" b="1" i="1" dirty="0">
                <a:solidFill>
                  <a:srgbClr val="00B2C0"/>
                </a:solidFill>
              </a:rPr>
              <a:t>WASH-RAG.org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85BC24-E855-4A85-90A2-5C46F5D448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5045" y="5139470"/>
            <a:ext cx="3789181" cy="883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6F628C-6183-7848-BD2A-B0F24874388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88892"/>
            <a:ext cx="3789180" cy="484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41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gnlGkkZMBbx55kzjc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gAlKtvuNdJzESLgzP1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1</TotalTime>
  <Words>424</Words>
  <Application>Microsoft Office PowerPoint</Application>
  <PresentationFormat>On-screen Show (4:3)</PresentationFormat>
  <Paragraphs>83</Paragraphs>
  <Slides>9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Light</vt:lpstr>
      <vt:lpstr>Wingdings</vt:lpstr>
      <vt:lpstr>Office Theme</vt:lpstr>
      <vt:lpstr>1_Custom Design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ASH in HCFs: Activities</vt:lpstr>
      <vt:lpstr>Outcom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ham, Ron</dc:creator>
  <cp:lastModifiedBy>Michael Brown</cp:lastModifiedBy>
  <cp:revision>74</cp:revision>
  <cp:lastPrinted>2022-02-04T16:11:48Z</cp:lastPrinted>
  <dcterms:created xsi:type="dcterms:W3CDTF">2020-06-30T17:44:58Z</dcterms:created>
  <dcterms:modified xsi:type="dcterms:W3CDTF">2023-06-27T18:5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2-02-03T17:17:12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6b8174a9-e3f3-4883-9b4b-ea71658e7078</vt:lpwstr>
  </property>
  <property fmtid="{D5CDD505-2E9C-101B-9397-08002B2CF9AE}" pid="8" name="MSIP_Label_0e815a84-bb14-486b-9367-c1af54c95fa4_ContentBits">
    <vt:lpwstr>0</vt:lpwstr>
  </property>
</Properties>
</file>